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5" r:id="rId2"/>
  </p:sldMasterIdLst>
  <p:notesMasterIdLst>
    <p:notesMasterId r:id="rId6"/>
  </p:notesMasterIdLst>
  <p:sldIdLst>
    <p:sldId id="425" r:id="rId3"/>
    <p:sldId id="424" r:id="rId4"/>
    <p:sldId id="426" r:id="rId5"/>
  </p:sldIdLst>
  <p:sldSz cx="12192000" cy="6858000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buFont typeface="Arial" panose="020B0604020202020204" pitchFamily="34" charset="0"/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buFont typeface="Arial" panose="020B0604020202020204" pitchFamily="34" charset="0"/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buFont typeface="Arial" panose="020B0604020202020204" pitchFamily="34" charset="0"/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buFont typeface="Arial" panose="020B0604020202020204" pitchFamily="34" charset="0"/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buFont typeface="Arial" panose="020B0604020202020204" pitchFamily="34" charset="0"/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3">
          <p15:clr>
            <a:srgbClr val="A4A3A4"/>
          </p15:clr>
        </p15:guide>
        <p15:guide id="2" pos="381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C0"/>
    <a:srgbClr val="197F83"/>
    <a:srgbClr val="0089D1"/>
    <a:srgbClr val="166EC9"/>
    <a:srgbClr val="0000FF"/>
    <a:srgbClr val="FF33CC"/>
    <a:srgbClr val="008000"/>
    <a:srgbClr val="FF0000"/>
    <a:srgbClr val="990099"/>
    <a:srgbClr val="333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616" autoAdjust="0"/>
    <p:restoredTop sz="87011" autoAdjust="0"/>
  </p:normalViewPr>
  <p:slideViewPr>
    <p:cSldViewPr snapToObjects="1">
      <p:cViewPr varScale="1">
        <p:scale>
          <a:sx n="63" d="100"/>
          <a:sy n="63" d="100"/>
        </p:scale>
        <p:origin x="68" y="124"/>
      </p:cViewPr>
      <p:guideLst>
        <p:guide orient="horz" pos="2153"/>
        <p:guide pos="38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A161D9-5974-445A-BC6C-74398EC10B9C}" type="datetimeFigureOut">
              <a:rPr lang="zh-CN" altLang="en-US" smtClean="0"/>
              <a:t>2019/7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097769-FEB0-4E7C-9F00-355F39A9FD9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5116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392B679-AE23-4750-8FB0-6513430B895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C5B769-98BE-4311-94EE-66475772C3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352" y="2584971"/>
            <a:ext cx="8280920" cy="1017067"/>
          </a:xfrm>
        </p:spPr>
        <p:txBody>
          <a:bodyPr anchor="b"/>
          <a:lstStyle>
            <a:lvl1pPr algn="ctr">
              <a:defRPr sz="40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9F76EA7F-6BE7-430E-8AE3-9DE98889A4C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3352" y="3717031"/>
            <a:ext cx="8280920" cy="661513"/>
          </a:xfrm>
        </p:spPr>
        <p:txBody>
          <a:bodyPr/>
          <a:lstStyle>
            <a:lvl1pPr marL="0" indent="0" algn="ctr">
              <a:buNone/>
              <a:defRPr sz="2000" b="1" u="none">
                <a:solidFill>
                  <a:srgbClr val="0085C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汇报人：阿斯利康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0B32036-E442-4B42-A48A-C4D80FFAE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7A9C5-BB19-49E0-A41F-A7EE0E2AA8B7}" type="datetimeFigureOut">
              <a:rPr lang="zh-CN" altLang="en-US" smtClean="0"/>
              <a:t>2019/7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A32A241-EF8C-42E7-A615-C5845B5DCF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055DCCB-0300-44BE-8F4B-EEFA603DE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C4CD7-CE1A-429C-8B66-853E644AC060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3F8FECF3-EFC7-4849-9267-58830A30F1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66" y="-37336"/>
            <a:ext cx="3656765" cy="14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39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198276" y="1084013"/>
            <a:ext cx="9967740" cy="823912"/>
          </a:xfrm>
        </p:spPr>
        <p:txBody>
          <a:bodyPr/>
          <a:lstStyle/>
          <a:p>
            <a:r>
              <a:rPr lang="zh-CN" altLang="en-US" noProof="1"/>
              <a:t>单击此处编辑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1186774" y="2019521"/>
            <a:ext cx="4873574" cy="823912"/>
          </a:xfrm>
        </p:spPr>
        <p:txBody>
          <a:bodyPr anchor="ctr"/>
          <a:lstStyle>
            <a:lvl1pPr marL="0" indent="0">
              <a:buNone/>
              <a:defRPr sz="24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 noProof="1"/>
              <a:t>单击此处编辑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1186774" y="2929677"/>
            <a:ext cx="4873574" cy="2976687"/>
          </a:xfrm>
        </p:spPr>
        <p:txBody>
          <a:bodyPr/>
          <a:lstStyle>
            <a:lvl1pPr>
              <a:lnSpc>
                <a:spcPct val="150000"/>
              </a:lnSpc>
              <a:defRPr sz="2000"/>
            </a:lvl1pPr>
            <a:lvl2pPr>
              <a:lnSpc>
                <a:spcPct val="150000"/>
              </a:lnSpc>
              <a:defRPr sz="18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noProof="1"/>
              <a:t>单击此处编辑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256938" y="2019520"/>
            <a:ext cx="4909078" cy="823913"/>
          </a:xfrm>
        </p:spPr>
        <p:txBody>
          <a:bodyPr anchor="ctr"/>
          <a:lstStyle>
            <a:lvl1pPr marL="0" indent="0">
              <a:buNone/>
              <a:defRPr sz="24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 noProof="1"/>
              <a:t>单击此处编辑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256938" y="2929677"/>
            <a:ext cx="4897576" cy="2976688"/>
          </a:xfrm>
        </p:spPr>
        <p:txBody>
          <a:bodyPr/>
          <a:lstStyle>
            <a:lvl1pPr>
              <a:lnSpc>
                <a:spcPct val="150000"/>
              </a:lnSpc>
              <a:defRPr sz="2000"/>
            </a:lvl1pPr>
            <a:lvl2pPr>
              <a:lnSpc>
                <a:spcPct val="150000"/>
              </a:lnSpc>
              <a:defRPr sz="18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noProof="1"/>
              <a:t>单击此处编辑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Rectangl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8" name="Rectangle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9" name="Rectangl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3624AA2-6119-4542-95E2-051F92B3CFAE}" type="slidenum">
              <a:rPr lang="zh-CN" altLang="en-US"/>
              <a:t>‹#›</a:t>
            </a:fld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1E02AE4-17BB-4277-A683-5B567F9455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8" y="4941168"/>
            <a:ext cx="3983231" cy="224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62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952032F7-3F50-4D0D-9D00-4065AE4C04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8" y="4941168"/>
            <a:ext cx="3983231" cy="224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738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3" name="Rectangle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4" name="Rectangl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8F54205-6EC6-4EBC-A013-C170D021B190}" type="slidenum">
              <a:rPr lang="zh-CN" altLang="en-US"/>
              <a:t>‹#›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B93DAFA-84F7-429F-8435-1963AA9884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8" y="4941168"/>
            <a:ext cx="3983231" cy="224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21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38483" y="1266031"/>
            <a:ext cx="9865096" cy="998984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Rectangl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4" name="Rectangle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Rectangl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9D6A020-8CFA-42B7-A9D3-17FBC14F61F9}" type="slidenum">
              <a:rPr lang="zh-CN" altLang="en-US"/>
              <a:t>‹#›</a:t>
            </a:fld>
            <a:endParaRPr lang="zh-CN" altLang="en-US"/>
          </a:p>
        </p:txBody>
      </p:sp>
      <p:sp>
        <p:nvSpPr>
          <p:cNvPr id="7" name="内容占位符 6">
            <a:extLst>
              <a:ext uri="{FF2B5EF4-FFF2-40B4-BE49-F238E27FC236}">
                <a16:creationId xmlns:a16="http://schemas.microsoft.com/office/drawing/2014/main" id="{E3F50B09-FAFE-4D80-BF78-DC1D68B4F50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27448" y="2349500"/>
            <a:ext cx="9865096" cy="3311748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29235141-F97B-4694-9400-8C9893519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5424641"/>
            <a:ext cx="2639616" cy="11056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271464" y="2636912"/>
            <a:ext cx="9649072" cy="1143000"/>
          </a:xfrm>
        </p:spPr>
        <p:txBody>
          <a:bodyPr/>
          <a:lstStyle/>
          <a:p>
            <a:r>
              <a:rPr lang="zh-CN" altLang="en-US" noProof="1"/>
              <a:t>单击此处编辑标题样式</a:t>
            </a:r>
          </a:p>
        </p:txBody>
      </p:sp>
      <p:sp>
        <p:nvSpPr>
          <p:cNvPr id="3" name="Rectangl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4" name="Rectangle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Rectangl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9D6A020-8CFA-42B7-A9D3-17FBC14F61F9}" type="slidenum">
              <a:rPr lang="zh-CN" altLang="en-US"/>
              <a:t>‹#›</a:t>
            </a:fld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7FB70942-0C61-440B-A8A0-104A71E6E3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5424641"/>
            <a:ext cx="2639616" cy="1105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082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198276" y="1084013"/>
            <a:ext cx="9967740" cy="823912"/>
          </a:xfrm>
        </p:spPr>
        <p:txBody>
          <a:bodyPr/>
          <a:lstStyle/>
          <a:p>
            <a:r>
              <a:rPr lang="zh-CN" altLang="en-US" noProof="1"/>
              <a:t>单击此处编辑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1186774" y="2019521"/>
            <a:ext cx="4873574" cy="823912"/>
          </a:xfrm>
        </p:spPr>
        <p:txBody>
          <a:bodyPr anchor="ctr"/>
          <a:lstStyle>
            <a:lvl1pPr marL="0" indent="0">
              <a:buNone/>
              <a:defRPr sz="24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 noProof="1"/>
              <a:t>单击此处编辑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1186774" y="2929677"/>
            <a:ext cx="4873574" cy="2976687"/>
          </a:xfrm>
        </p:spPr>
        <p:txBody>
          <a:bodyPr/>
          <a:lstStyle>
            <a:lvl1pPr>
              <a:lnSpc>
                <a:spcPct val="150000"/>
              </a:lnSpc>
              <a:defRPr sz="2000"/>
            </a:lvl1pPr>
            <a:lvl2pPr>
              <a:lnSpc>
                <a:spcPct val="150000"/>
              </a:lnSpc>
              <a:defRPr sz="18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noProof="1"/>
              <a:t>单击此处编辑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256938" y="2019520"/>
            <a:ext cx="4909078" cy="823913"/>
          </a:xfrm>
        </p:spPr>
        <p:txBody>
          <a:bodyPr anchor="ctr"/>
          <a:lstStyle>
            <a:lvl1pPr marL="0" indent="0">
              <a:buNone/>
              <a:defRPr sz="24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 noProof="1"/>
              <a:t>单击此处编辑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256938" y="2929677"/>
            <a:ext cx="4897576" cy="2976688"/>
          </a:xfrm>
        </p:spPr>
        <p:txBody>
          <a:bodyPr/>
          <a:lstStyle>
            <a:lvl1pPr>
              <a:lnSpc>
                <a:spcPct val="150000"/>
              </a:lnSpc>
              <a:defRPr sz="2000"/>
            </a:lvl1pPr>
            <a:lvl2pPr>
              <a:lnSpc>
                <a:spcPct val="150000"/>
              </a:lnSpc>
              <a:defRPr sz="18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noProof="1"/>
              <a:t>单击此处编辑文本样式</a:t>
            </a:r>
          </a:p>
          <a:p>
            <a:pPr lvl="1"/>
            <a:r>
              <a:rPr lang="zh-CN" altLang="en-US" noProof="1"/>
              <a:t>第二级</a:t>
            </a:r>
          </a:p>
          <a:p>
            <a:pPr lvl="2"/>
            <a:r>
              <a:rPr lang="zh-CN" altLang="en-US" noProof="1"/>
              <a:t>第三级</a:t>
            </a:r>
          </a:p>
          <a:p>
            <a:pPr lvl="3"/>
            <a:r>
              <a:rPr lang="zh-CN" altLang="en-US" noProof="1"/>
              <a:t>第四级</a:t>
            </a:r>
          </a:p>
          <a:p>
            <a:pPr lvl="4"/>
            <a:r>
              <a:rPr lang="zh-CN" altLang="en-US" noProof="1"/>
              <a:t>第五级</a:t>
            </a:r>
          </a:p>
        </p:txBody>
      </p:sp>
      <p:sp>
        <p:nvSpPr>
          <p:cNvPr id="7" name="Rectangl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8" name="Rectangle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9" name="Rectangl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3624AA2-6119-4542-95E2-051F92B3CFAE}" type="slidenum">
              <a:rPr lang="zh-CN" altLang="en-US"/>
              <a:t>‹#›</a:t>
            </a:fld>
            <a:endParaRPr lang="zh-CN" altLang="en-US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B45A630-DD0C-4EA0-A273-013CF2F24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5424641"/>
            <a:ext cx="2639616" cy="11056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C26DFE38-6F2E-43FD-8CEC-34238C6FE8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5424641"/>
            <a:ext cx="2639616" cy="11056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3" name="Rectangle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4" name="Rectangl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8F54205-6EC6-4EBC-A013-C170D021B190}" type="slidenum">
              <a:rPr lang="zh-CN" altLang="en-US"/>
              <a:t>‹#›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67609FE-A4B5-485C-ACFD-9708E7AD04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5424641"/>
            <a:ext cx="2639616" cy="11056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C5B769-98BE-4311-94EE-66475772C3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352" y="2584971"/>
            <a:ext cx="8280920" cy="1017067"/>
          </a:xfrm>
        </p:spPr>
        <p:txBody>
          <a:bodyPr anchor="b"/>
          <a:lstStyle>
            <a:lvl1pPr algn="ctr">
              <a:defRPr sz="40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9F76EA7F-6BE7-430E-8AE3-9DE98889A4C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3352" y="3717031"/>
            <a:ext cx="8280920" cy="661513"/>
          </a:xfrm>
        </p:spPr>
        <p:txBody>
          <a:bodyPr/>
          <a:lstStyle>
            <a:lvl1pPr marL="0" indent="0" algn="ctr">
              <a:buNone/>
              <a:defRPr sz="2000" b="1" u="none">
                <a:solidFill>
                  <a:srgbClr val="0085C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汇报人：阿斯利康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0B32036-E442-4B42-A48A-C4D80FFAE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7A9C5-BB19-49E0-A41F-A7EE0E2AA8B7}" type="datetimeFigureOut">
              <a:rPr lang="zh-CN" altLang="en-US" smtClean="0"/>
              <a:t>2019/7/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A32A241-EF8C-42E7-A615-C5845B5DCF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055DCCB-0300-44BE-8F4B-EEFA603DE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C4CD7-CE1A-429C-8B66-853E644AC060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3F8FECF3-EFC7-4849-9267-58830A30F1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66" y="-37336"/>
            <a:ext cx="3656765" cy="144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13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38483" y="1266031"/>
            <a:ext cx="9865096" cy="998984"/>
          </a:xfrm>
        </p:spPr>
        <p:txBody>
          <a:bodyPr/>
          <a:lstStyle/>
          <a:p>
            <a:r>
              <a:rPr lang="zh-CN" altLang="en-US" noProof="1"/>
              <a:t>单击此处编辑母版标题样式</a:t>
            </a:r>
          </a:p>
        </p:txBody>
      </p:sp>
      <p:sp>
        <p:nvSpPr>
          <p:cNvPr id="3" name="Rectangl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4" name="Rectangle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Rectangl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9D6A020-8CFA-42B7-A9D3-17FBC14F61F9}" type="slidenum">
              <a:rPr lang="zh-CN" altLang="en-US"/>
              <a:t>‹#›</a:t>
            </a:fld>
            <a:endParaRPr lang="zh-CN" altLang="en-US"/>
          </a:p>
        </p:txBody>
      </p:sp>
      <p:sp>
        <p:nvSpPr>
          <p:cNvPr id="7" name="内容占位符 6">
            <a:extLst>
              <a:ext uri="{FF2B5EF4-FFF2-40B4-BE49-F238E27FC236}">
                <a16:creationId xmlns:a16="http://schemas.microsoft.com/office/drawing/2014/main" id="{E3F50B09-FAFE-4D80-BF78-DC1D68B4F50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27448" y="2349500"/>
            <a:ext cx="9865096" cy="3311748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6562B382-CFE8-4309-945A-A96C27AA9E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8" y="4941168"/>
            <a:ext cx="3983231" cy="224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0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1271464" y="2636912"/>
            <a:ext cx="9649072" cy="1143000"/>
          </a:xfrm>
        </p:spPr>
        <p:txBody>
          <a:bodyPr/>
          <a:lstStyle/>
          <a:p>
            <a:r>
              <a:rPr lang="zh-CN" altLang="en-US" noProof="1"/>
              <a:t>单击此处编辑标题样式</a:t>
            </a:r>
          </a:p>
        </p:txBody>
      </p:sp>
      <p:sp>
        <p:nvSpPr>
          <p:cNvPr id="3" name="Rectangl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4" name="Rectangle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Rectangl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9D6A020-8CFA-42B7-A9D3-17FBC14F61F9}" type="slidenum">
              <a:rPr lang="zh-CN" altLang="en-US"/>
              <a:t>‹#›</a:t>
            </a:fld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86DED9D-781C-401A-BCA2-4BD6496218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8" y="4941168"/>
            <a:ext cx="3983231" cy="224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57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523492" y="1074341"/>
            <a:ext cx="914501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9"/>
          </p:nvPr>
        </p:nvSpPr>
        <p:spPr bwMode="auto">
          <a:xfrm>
            <a:off x="1523492" y="2276872"/>
            <a:ext cx="9145016" cy="3849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29" name="Rectangle 5"/>
          <p:cNvSpPr>
            <a:spLocks noGrp="1"/>
          </p:cNvSpPr>
          <p:nvPr>
            <p:ph type="dt" sz="half" idx="2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/>
          </a:ln>
        </p:spPr>
        <p:txBody>
          <a:bodyPr/>
          <a:lstStyle>
            <a:lvl1pPr>
              <a:defRPr sz="1200" noProof="1" dirty="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030" name="Rectangle 6"/>
          <p:cNvSpPr>
            <a:spLocks noGrp="1"/>
          </p:cNvSpPr>
          <p:nvPr>
            <p:ph type="ftr" sz="quarter" idx="3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/>
          </a:ln>
        </p:spPr>
        <p:txBody>
          <a:bodyPr/>
          <a:lstStyle>
            <a:lvl1pPr algn="ctr">
              <a:defRPr sz="1200" noProof="1" dirty="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031" name="Rectangle 7"/>
          <p:cNvSpPr>
            <a:spLocks noGrp="1"/>
          </p:cNvSpPr>
          <p:nvPr>
            <p:ph type="sldNum" sz="quarter" idx="4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/>
          </a:ln>
        </p:spPr>
        <p:txBody>
          <a:bodyPr/>
          <a:lstStyle>
            <a:lvl1pPr algn="r">
              <a:defRPr sz="1200" noProof="1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+mn-ea"/>
              </a:defRPr>
            </a:lvl1pPr>
          </a:lstStyle>
          <a:p>
            <a:fld id="{ED292C32-8D1B-4234-8F29-1EAD1BF6423C}" type="slidenum">
              <a:rPr lang="zh-CN" altLang="en-US" smtClean="0"/>
              <a:pPr/>
              <a:t>‹#›</a:t>
            </a:fld>
            <a:endParaRPr lang="zh-CN" altLang="en-US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58" r:id="rId2"/>
    <p:sldLayoutId id="2147483662" r:id="rId3"/>
    <p:sldLayoutId id="2147483657" r:id="rId4"/>
    <p:sldLayoutId id="2147483649" r:id="rId5"/>
    <p:sldLayoutId id="2147483659" r:id="rId6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200" b="1" kern="1200">
          <a:solidFill>
            <a:srgbClr val="0085C0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 Light" panose="020B0502040204020203" pitchFamily="34" charset="-122"/>
          <a:ea typeface="微软雅黑 Light" panose="020B0502040204020203" pitchFamily="34" charset="-122"/>
          <a:cs typeface="+mn-cs"/>
        </a:defRPr>
      </a:lvl1pPr>
      <a:lvl2pPr marL="742950" lvl="1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微软雅黑 Light" panose="020B0502040204020203" pitchFamily="34" charset="-122"/>
          <a:ea typeface="微软雅黑 Light" panose="020B0502040204020203" pitchFamily="34" charset="-122"/>
          <a:cs typeface="+mn-cs"/>
        </a:defRPr>
      </a:lvl2pPr>
      <a:lvl3pPr marL="1143000" lvl="2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 Light" panose="020B0502040204020203" pitchFamily="34" charset="-122"/>
          <a:ea typeface="微软雅黑 Light" panose="020B0502040204020203" pitchFamily="34" charset="-122"/>
          <a:cs typeface="+mn-cs"/>
        </a:defRPr>
      </a:lvl3pPr>
      <a:lvl4pPr marL="1600200" lvl="3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微软雅黑 Light" panose="020B0502040204020203" pitchFamily="34" charset="-122"/>
          <a:ea typeface="微软雅黑 Light" panose="020B0502040204020203" pitchFamily="34" charset="-122"/>
          <a:cs typeface="+mn-cs"/>
        </a:defRPr>
      </a:lvl4pPr>
      <a:lvl5pPr marL="2057400" lvl="4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微软雅黑 Light" panose="020B0502040204020203" pitchFamily="34" charset="-122"/>
          <a:ea typeface="微软雅黑 Light" panose="020B0502040204020203" pitchFamily="34" charset="-122"/>
          <a:cs typeface="+mn-cs"/>
        </a:defRPr>
      </a:lvl5pPr>
      <a:lvl6pPr marL="2514600" lvl="5" indent="-228600" algn="l" defTabSz="91440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har char="»"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lvl="6" indent="-228600" algn="l" defTabSz="91440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har char="»"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lvl="7" indent="-228600" algn="l" defTabSz="91440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har char="»"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6200" lvl="8" indent="-228600" algn="l" defTabSz="91440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har char="»"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4400" eaLnBrk="0" fontAlgn="base" latinLnBrk="0" hangingPunct="0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lvl="1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lvl="2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lvl="3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lvl="4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86000" lvl="5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43200" lvl="6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400" lvl="7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57600" lvl="8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523492" y="1074341"/>
            <a:ext cx="914501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zh-CN" altLang="en-US" dirty="0"/>
              <a:t>单击此处编辑母版标题样式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9"/>
          </p:nvPr>
        </p:nvSpPr>
        <p:spPr bwMode="auto">
          <a:xfrm>
            <a:off x="1523492" y="2276872"/>
            <a:ext cx="9145016" cy="3849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029" name="Rectangle 5"/>
          <p:cNvSpPr>
            <a:spLocks noGrp="1"/>
          </p:cNvSpPr>
          <p:nvPr>
            <p:ph type="dt" sz="half" idx="2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/>
          </a:ln>
        </p:spPr>
        <p:txBody>
          <a:bodyPr/>
          <a:lstStyle>
            <a:lvl1pPr>
              <a:defRPr sz="1200" noProof="1" dirty="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030" name="Rectangle 6"/>
          <p:cNvSpPr>
            <a:spLocks noGrp="1"/>
          </p:cNvSpPr>
          <p:nvPr>
            <p:ph type="ftr" sz="quarter" idx="3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/>
          </a:ln>
        </p:spPr>
        <p:txBody>
          <a:bodyPr/>
          <a:lstStyle>
            <a:lvl1pPr algn="ctr">
              <a:defRPr sz="1200" noProof="1" dirty="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1031" name="Rectangle 7"/>
          <p:cNvSpPr>
            <a:spLocks noGrp="1"/>
          </p:cNvSpPr>
          <p:nvPr>
            <p:ph type="sldNum" sz="quarter" idx="4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/>
          </a:ln>
        </p:spPr>
        <p:txBody>
          <a:bodyPr/>
          <a:lstStyle>
            <a:lvl1pPr algn="r">
              <a:defRPr sz="1200" noProof="1" dirty="0">
                <a:latin typeface="微软雅黑 Light" panose="020B0502040204020203" pitchFamily="34" charset="-122"/>
                <a:ea typeface="微软雅黑 Light" panose="020B0502040204020203" pitchFamily="34" charset="-122"/>
                <a:cs typeface="+mn-ea"/>
              </a:defRPr>
            </a:lvl1pPr>
          </a:lstStyle>
          <a:p>
            <a:fld id="{ED292C32-8D1B-4234-8F29-1EAD1BF6423C}" type="slidenum">
              <a:rPr lang="zh-CN" altLang="en-US" smtClean="0"/>
              <a:pPr/>
              <a:t>‹#›</a:t>
            </a:fld>
            <a:endParaRPr lang="zh-CN" alt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7959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200" b="1" kern="1200">
          <a:solidFill>
            <a:srgbClr val="0085C0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3600">
          <a:solidFill>
            <a:schemeClr val="tx2"/>
          </a:solidFill>
          <a:latin typeface="Arial" panose="020B060402020202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 Light" panose="020B0502040204020203" pitchFamily="34" charset="-122"/>
          <a:ea typeface="微软雅黑 Light" panose="020B0502040204020203" pitchFamily="34" charset="-122"/>
          <a:cs typeface="+mn-cs"/>
        </a:defRPr>
      </a:lvl1pPr>
      <a:lvl2pPr marL="742950" lvl="1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微软雅黑 Light" panose="020B0502040204020203" pitchFamily="34" charset="-122"/>
          <a:ea typeface="微软雅黑 Light" panose="020B0502040204020203" pitchFamily="34" charset="-122"/>
          <a:cs typeface="+mn-cs"/>
        </a:defRPr>
      </a:lvl2pPr>
      <a:lvl3pPr marL="1143000" lvl="2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 Light" panose="020B0502040204020203" pitchFamily="34" charset="-122"/>
          <a:ea typeface="微软雅黑 Light" panose="020B0502040204020203" pitchFamily="34" charset="-122"/>
          <a:cs typeface="+mn-cs"/>
        </a:defRPr>
      </a:lvl3pPr>
      <a:lvl4pPr marL="1600200" lvl="3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微软雅黑 Light" panose="020B0502040204020203" pitchFamily="34" charset="-122"/>
          <a:ea typeface="微软雅黑 Light" panose="020B0502040204020203" pitchFamily="34" charset="-122"/>
          <a:cs typeface="+mn-cs"/>
        </a:defRPr>
      </a:lvl4pPr>
      <a:lvl5pPr marL="2057400" lvl="4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微软雅黑 Light" panose="020B0502040204020203" pitchFamily="34" charset="-122"/>
          <a:ea typeface="微软雅黑 Light" panose="020B0502040204020203" pitchFamily="34" charset="-122"/>
          <a:cs typeface="+mn-cs"/>
        </a:defRPr>
      </a:lvl5pPr>
      <a:lvl6pPr marL="2514600" lvl="5" indent="-228600" algn="l" defTabSz="91440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har char="»"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lvl="6" indent="-228600" algn="l" defTabSz="91440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har char="»"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9000" lvl="7" indent="-228600" algn="l" defTabSz="91440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har char="»"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6200" lvl="8" indent="-228600" algn="l" defTabSz="91440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har char="»"/>
        <a:defRPr sz="2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lvl="0" indent="0" algn="l" defTabSz="914400" eaLnBrk="0" fontAlgn="base" latinLnBrk="0" hangingPunct="0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lvl="1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914400" lvl="2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371600" lvl="3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828800" lvl="4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286000" lvl="5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743200" lvl="6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400" lvl="7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657600" lvl="8" indent="0" algn="l" defTabSz="91440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sz="18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BC326C3-774C-4EFF-A663-05B6B587B2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767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34014A9C-CE12-45AE-9043-D7EAFDB103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235" imgH="235" progId="TCLayout.ActiveDocument.1">
                  <p:embed/>
                </p:oleObj>
              </mc:Choice>
              <mc:Fallback>
                <p:oleObj name="think-cell Slide" r:id="rId5" imgW="235" imgH="235" progId="TCLayout.ActiveDocument.1">
                  <p:embed/>
                  <p:pic>
                    <p:nvPicPr>
                      <p:cNvPr id="10" name="对象 9" hidden="1">
                        <a:extLst>
                          <a:ext uri="{FF2B5EF4-FFF2-40B4-BE49-F238E27FC236}">
                            <a16:creationId xmlns:a16="http://schemas.microsoft.com/office/drawing/2014/main" id="{34014A9C-CE12-45AE-9043-D7EAFDB103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4"/>
          <p:cNvSpPr txBox="1"/>
          <p:nvPr/>
        </p:nvSpPr>
        <p:spPr>
          <a:xfrm>
            <a:off x="261620" y="345440"/>
            <a:ext cx="10082851" cy="672253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CN" altLang="en-GB" sz="3733" b="1" i="0" u="none" strike="noStrike" kern="1200" cap="none" spc="0" normalizeH="0" baseline="0" noProof="0" dirty="0">
                <a:ln>
                  <a:noFill/>
                </a:ln>
                <a:solidFill>
                  <a:srgbClr val="005DA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病例模版</a:t>
            </a:r>
            <a:r>
              <a:rPr kumimoji="0" lang="en-US" altLang="zh-CN" sz="3733" b="1" i="0" u="none" strike="noStrike" kern="1200" cap="none" spc="0" normalizeH="0" baseline="0" noProof="0" dirty="0">
                <a:ln>
                  <a:noFill/>
                </a:ln>
                <a:solidFill>
                  <a:srgbClr val="005DA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3733" b="1" i="0" u="none" strike="noStrike" kern="1200" cap="none" spc="0" normalizeH="0" baseline="0" noProof="0" dirty="0">
                <a:ln>
                  <a:noFill/>
                </a:ln>
                <a:solidFill>
                  <a:srgbClr val="005DA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内容 </a:t>
            </a:r>
            <a:r>
              <a:rPr kumimoji="0" lang="en-US" altLang="zh-CN" sz="3733" b="1" i="0" u="none" strike="noStrike" kern="1200" cap="none" spc="0" normalizeH="0" baseline="0" noProof="0" dirty="0">
                <a:ln>
                  <a:noFill/>
                </a:ln>
                <a:solidFill>
                  <a:srgbClr val="005DA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</a:t>
            </a:r>
            <a:r>
              <a:rPr kumimoji="0" lang="zh-CN" altLang="en-US" sz="3733" b="1" i="0" u="none" strike="noStrike" kern="1200" cap="none" spc="0" normalizeH="0" baseline="0" noProof="0" dirty="0">
                <a:ln>
                  <a:noFill/>
                </a:ln>
                <a:solidFill>
                  <a:srgbClr val="005DA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仅供参考，内容和形式可自定</a:t>
            </a:r>
            <a:r>
              <a:rPr kumimoji="0" lang="en-US" altLang="zh-CN" sz="3733" b="1" i="0" u="none" strike="noStrike" kern="1200" cap="none" spc="0" normalizeH="0" baseline="0" noProof="0" dirty="0">
                <a:ln>
                  <a:noFill/>
                </a:ln>
                <a:solidFill>
                  <a:srgbClr val="005DA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</a:t>
            </a:r>
            <a:endParaRPr kumimoji="0" lang="zh-CN" altLang="en-GB" sz="3733" b="1" i="0" u="none" strike="noStrike" kern="1200" cap="none" spc="0" normalizeH="0" baseline="0" noProof="0" dirty="0">
              <a:ln>
                <a:noFill/>
              </a:ln>
              <a:solidFill>
                <a:srgbClr val="761C78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48741A5B-C3B1-473A-8F39-A6299B8CAB72}"/>
              </a:ext>
            </a:extLst>
          </p:cNvPr>
          <p:cNvGrpSpPr/>
          <p:nvPr/>
        </p:nvGrpSpPr>
        <p:grpSpPr>
          <a:xfrm>
            <a:off x="790754" y="1220756"/>
            <a:ext cx="3217148" cy="4313934"/>
            <a:chOff x="358939" y="848643"/>
            <a:chExt cx="2412861" cy="3235451"/>
          </a:xfrm>
        </p:grpSpPr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9029BC39-6D25-491E-8435-CB977A819E0C}"/>
                </a:ext>
              </a:extLst>
            </p:cNvPr>
            <p:cNvSpPr/>
            <p:nvPr/>
          </p:nvSpPr>
          <p:spPr>
            <a:xfrm>
              <a:off x="466951" y="915566"/>
              <a:ext cx="2174694" cy="3168528"/>
            </a:xfrm>
            <a:prstGeom prst="rect">
              <a:avLst/>
            </a:prstGeom>
            <a:solidFill>
              <a:srgbClr val="005D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宋体"/>
                <a:cs typeface="+mn-cs"/>
              </a:endParaRPr>
            </a:p>
          </p:txBody>
        </p:sp>
        <p:sp>
          <p:nvSpPr>
            <p:cNvPr id="100" name="文本框 99"/>
            <p:cNvSpPr txBox="1"/>
            <p:nvPr/>
          </p:nvSpPr>
          <p:spPr>
            <a:xfrm>
              <a:off x="358939" y="848643"/>
              <a:ext cx="2412861" cy="286126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1467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 1 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医师介绍</a:t>
              </a:r>
              <a:endParaRPr kumimoji="0" lang="zh-CN" alt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        (1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照片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        (2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简历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 2 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基本信息：</a:t>
              </a:r>
              <a:endParaRPr kumimoji="0" lang="zh-CN" alt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        (1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患者姓名</a:t>
              </a: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-</a:t>
              </a:r>
              <a:r>
                <a:rPr kumimoji="0" lang="zh-CN" altLang="en-US" sz="1467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隐去姓名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        (2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患者性别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        (3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患者年龄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        (4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患者体重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        (5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就诊时间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        (6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患者主诉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737990DB-C5B3-4005-A0F8-5B4D063904CD}"/>
              </a:ext>
            </a:extLst>
          </p:cNvPr>
          <p:cNvGrpSpPr/>
          <p:nvPr/>
        </p:nvGrpSpPr>
        <p:grpSpPr>
          <a:xfrm>
            <a:off x="4243064" y="1230492"/>
            <a:ext cx="3485117" cy="4588692"/>
            <a:chOff x="2973543" y="848643"/>
            <a:chExt cx="2613838" cy="3441519"/>
          </a:xfrm>
        </p:grpSpPr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EA3E818A-67C4-4554-AB1B-8834D019DA6D}"/>
                </a:ext>
              </a:extLst>
            </p:cNvPr>
            <p:cNvSpPr/>
            <p:nvPr/>
          </p:nvSpPr>
          <p:spPr>
            <a:xfrm>
              <a:off x="2973543" y="915566"/>
              <a:ext cx="2232248" cy="3168528"/>
            </a:xfrm>
            <a:prstGeom prst="rect">
              <a:avLst/>
            </a:prstGeom>
            <a:solidFill>
              <a:srgbClr val="005D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宋体"/>
                <a:cs typeface="+mn-cs"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5C95684-F15B-4968-B831-C1037B3D76C9}"/>
                </a:ext>
              </a:extLst>
            </p:cNvPr>
            <p:cNvSpPr txBox="1"/>
            <p:nvPr/>
          </p:nvSpPr>
          <p:spPr>
            <a:xfrm>
              <a:off x="3139109" y="848643"/>
              <a:ext cx="2448272" cy="3441519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1467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3  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病史资料（内镜）</a:t>
              </a:r>
              <a:endParaRPr kumimoji="0" lang="zh-CN" alt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(1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现病史：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(2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既往史：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(3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个人史：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(4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合并用药史：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(5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查体及实验室排查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体格检查（如有）：</a:t>
              </a:r>
              <a:endParaRPr kumimoji="0" lang="en-US" altLang="zh-CN" sz="14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实验室检查（如有）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(6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入院内镜图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(7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病理结果（如有）</a:t>
              </a:r>
              <a:endParaRPr kumimoji="0" lang="en-US" altLang="zh-CN" sz="14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</a:t>
              </a:r>
              <a:r>
                <a:rPr kumimoji="0" lang="zh-CN" altLang="en-US" sz="1467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</a:t>
              </a:r>
              <a:r>
                <a:rPr kumimoji="0" lang="en-US" altLang="zh-CN" sz="1467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……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1333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</a:t>
              </a:r>
              <a:endParaRPr kumimoji="0" lang="en-US" altLang="zh-CN" sz="13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altLang="zh-CN" sz="13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zh-CN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39D23EFF-BC80-42C4-BC09-FF4F204F57FD}"/>
              </a:ext>
            </a:extLst>
          </p:cNvPr>
          <p:cNvGrpSpPr/>
          <p:nvPr/>
        </p:nvGrpSpPr>
        <p:grpSpPr>
          <a:xfrm>
            <a:off x="7665480" y="1319723"/>
            <a:ext cx="3135043" cy="4224704"/>
            <a:chOff x="4725942" y="850861"/>
            <a:chExt cx="2351282" cy="3168528"/>
          </a:xfrm>
          <a:solidFill>
            <a:srgbClr val="3992DB"/>
          </a:solidFill>
        </p:grpSpPr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35F4399E-D74F-4945-88AD-86E03397E104}"/>
                </a:ext>
              </a:extLst>
            </p:cNvPr>
            <p:cNvSpPr/>
            <p:nvPr/>
          </p:nvSpPr>
          <p:spPr>
            <a:xfrm>
              <a:off x="4725942" y="850861"/>
              <a:ext cx="2232248" cy="3168528"/>
            </a:xfrm>
            <a:prstGeom prst="rect">
              <a:avLst/>
            </a:prstGeom>
            <a:solidFill>
              <a:srgbClr val="005D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宋体"/>
                <a:cs typeface="+mn-cs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7FB060ED-D408-4714-8E76-78F7913C21A5}"/>
                </a:ext>
              </a:extLst>
            </p:cNvPr>
            <p:cNvSpPr txBox="1"/>
            <p:nvPr/>
          </p:nvSpPr>
          <p:spPr>
            <a:xfrm>
              <a:off x="4844976" y="920651"/>
              <a:ext cx="2232248" cy="296720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4 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初步诊断</a:t>
              </a: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</a:t>
              </a: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(1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诊断依据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(4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初步诊断（如有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）</a:t>
              </a:r>
              <a:endParaRPr kumimoji="0" lang="zh-CN" altLang="en-US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5 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鉴别诊断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6 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药物治疗</a:t>
              </a: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治疗方案</a:t>
              </a:r>
              <a:endParaRPr kumimoji="0" lang="zh-CN" altLang="en-US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7 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手术治疗（如有）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8 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随访：</a:t>
              </a: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(1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随访结果</a:t>
              </a: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(2)</a:t>
              </a:r>
              <a:r>
                <a:rPr kumimoji="0" lang="zh-CN" alt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随访期间药物调整情况</a:t>
              </a:r>
              <a:endParaRPr kumimoji="0" lang="zh-CN" altLang="en-US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4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9 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病例总结及讨论</a:t>
              </a: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          </a:t>
              </a: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endParaRPr>
            </a:p>
          </p:txBody>
        </p:sp>
      </p:grpSp>
    </p:spTree>
  </p:cSld>
  <p:clrMapOvr>
    <a:masterClrMapping/>
  </p:clrMapOvr>
  <p:transition spd="slow" advClick="0" advTm="0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D64681-9C86-49BA-BC03-C7B9943A8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50FB6CA-BE10-497D-8CA1-88118CF8331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4029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14:window dir="vert"/>
      </p:transition>
    </mc:Choice>
    <mc:Fallback xmlns="">
      <p:transition spd="slow" advClick="0" advTm="3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默认设计模板">
  <a:themeElements>
    <a:clrScheme name="自定义 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A3A5"/>
      </a:accent1>
      <a:accent2>
        <a:srgbClr val="00A3A5"/>
      </a:accent2>
      <a:accent3>
        <a:srgbClr val="00A3A5"/>
      </a:accent3>
      <a:accent4>
        <a:srgbClr val="00A3A5"/>
      </a:accent4>
      <a:accent5>
        <a:srgbClr val="00A3A5"/>
      </a:accent5>
      <a:accent6>
        <a:srgbClr val="00A3A5"/>
      </a:accent6>
      <a:hlink>
        <a:srgbClr val="0563C1"/>
      </a:hlink>
      <a:folHlink>
        <a:srgbClr val="954F72"/>
      </a:folHlink>
    </a:clrScheme>
    <a:fontScheme name="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默认设计模板">
  <a:themeElements>
    <a:clrScheme name="自定义 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A3A5"/>
      </a:accent1>
      <a:accent2>
        <a:srgbClr val="00A3A5"/>
      </a:accent2>
      <a:accent3>
        <a:srgbClr val="00A3A5"/>
      </a:accent3>
      <a:accent4>
        <a:srgbClr val="00A3A5"/>
      </a:accent4>
      <a:accent5>
        <a:srgbClr val="00A3A5"/>
      </a:accent5>
      <a:accent6>
        <a:srgbClr val="00A3A5"/>
      </a:accent6>
      <a:hlink>
        <a:srgbClr val="0563C1"/>
      </a:hlink>
      <a:folHlink>
        <a:srgbClr val="954F72"/>
      </a:folHlink>
    </a:clrScheme>
    <a:fontScheme name="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</TotalTime>
  <Words>215</Words>
  <Application>Microsoft Office PowerPoint</Application>
  <PresentationFormat>宽屏</PresentationFormat>
  <Paragraphs>38</Paragraphs>
  <Slides>3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</vt:i4>
      </vt:variant>
    </vt:vector>
  </HeadingPairs>
  <TitlesOfParts>
    <vt:vector size="11" baseType="lpstr">
      <vt:lpstr>等线</vt:lpstr>
      <vt:lpstr>宋体</vt:lpstr>
      <vt:lpstr>微软雅黑</vt:lpstr>
      <vt:lpstr>微软雅黑 Light</vt:lpstr>
      <vt:lpstr>Arial</vt:lpstr>
      <vt:lpstr>默认设计模板</vt:lpstr>
      <vt:lpstr>1_默认设计模板</vt:lpstr>
      <vt:lpstr>think-cell Slide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医院服务礼仪</dc:title>
  <dc:creator>.</dc:creator>
  <cp:lastModifiedBy>Yang, Sunny</cp:lastModifiedBy>
  <cp:revision>228</cp:revision>
  <dcterms:created xsi:type="dcterms:W3CDTF">2012-08-17T07:09:00Z</dcterms:created>
  <dcterms:modified xsi:type="dcterms:W3CDTF">2019-07-03T13:5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